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79" r:id="rId2"/>
    <p:sldId id="277" r:id="rId3"/>
    <p:sldId id="522" r:id="rId4"/>
    <p:sldId id="261" r:id="rId5"/>
    <p:sldId id="503" r:id="rId6"/>
    <p:sldId id="269" r:id="rId7"/>
    <p:sldId id="270" r:id="rId8"/>
    <p:sldId id="504" r:id="rId9"/>
    <p:sldId id="505" r:id="rId10"/>
    <p:sldId id="292" r:id="rId11"/>
    <p:sldId id="259" r:id="rId12"/>
    <p:sldId id="260" r:id="rId13"/>
    <p:sldId id="263" r:id="rId14"/>
    <p:sldId id="264" r:id="rId15"/>
    <p:sldId id="265" r:id="rId16"/>
    <p:sldId id="293" r:id="rId17"/>
    <p:sldId id="523" r:id="rId18"/>
    <p:sldId id="290" r:id="rId19"/>
    <p:sldId id="28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58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E40783-25A8-43E6-BE6B-1D64DEE63C19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</dgm:pt>
    <dgm:pt modelId="{04CB35EC-0748-4259-A624-BCD8E7CAD408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1. Create set of 25 question codes using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Random Question Generator</a:t>
          </a:r>
        </a:p>
      </dgm:t>
    </dgm:pt>
    <dgm:pt modelId="{C7FFD4C3-B198-444D-AA1F-BC8EE8229510}" type="parTrans" cxnId="{B517A7A1-8B81-4FAE-B8E6-0665E85A4018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4C8B7585-B213-47A0-A8C2-AA9B054D3138}" type="sibTrans" cxnId="{B517A7A1-8B81-4FAE-B8E6-0665E85A4018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D78D4301-B58D-4012-8621-600A8D4A2293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2. Transfer the question codes generated to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Question Tracker Sheet</a:t>
          </a:r>
        </a:p>
      </dgm:t>
    </dgm:pt>
    <dgm:pt modelId="{0A988B74-AD49-420D-9632-0A160378848E}" type="parTrans" cxnId="{4FED34E1-296E-45E1-ADDE-D282CEA43FD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9BFCD30F-7A53-4572-8369-93A8FE543662}" type="sibTrans" cxnId="{4FED34E1-296E-45E1-ADDE-D282CEA43FD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50E982B1-D5F6-413D-BE34-B2FC3A285DB8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4. Transfer the matching questions to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Written Examination Questions Template and Answer key</a:t>
          </a:r>
        </a:p>
      </dgm:t>
    </dgm:pt>
    <dgm:pt modelId="{401AE9A0-557B-434B-947B-5DF1841C03F7}" type="parTrans" cxnId="{73CAD60A-D79B-4ED1-86A8-3E301606DFC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A5CAD074-319A-4CAC-8A2B-935B7B083CD0}" type="sibTrans" cxnId="{73CAD60A-D79B-4ED1-86A8-3E301606DFC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0E42FB55-2D56-46EC-9A97-8611FBC1F2CD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3. Select the matching questions from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Question Bank</a:t>
          </a:r>
          <a:r>
            <a:rPr lang="en-US" sz="1800" b="1" dirty="0">
              <a:solidFill>
                <a:srgbClr val="FFFF00"/>
              </a:solidFill>
              <a:latin typeface="+mn-lt"/>
            </a:rPr>
            <a:t> </a:t>
          </a:r>
          <a:r>
            <a:rPr lang="en-US" sz="1800" b="0" dirty="0">
              <a:latin typeface="+mn-lt"/>
            </a:rPr>
            <a:t>created</a:t>
          </a:r>
        </a:p>
      </dgm:t>
    </dgm:pt>
    <dgm:pt modelId="{5A63B5A8-B130-4C00-80DF-A2DF6AE63575}" type="parTrans" cxnId="{127F88C6-C2CB-409C-BF39-F1B4135A01D1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F6415A6D-FE91-4C2C-A626-5DB3C20FA477}" type="sibTrans" cxnId="{127F88C6-C2CB-409C-BF39-F1B4135A01D1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1A25F7F2-6575-4FE8-BB92-5926B4EB4BAD}">
      <dgm:prSet phldrT="[Text]" custT="1"/>
      <dgm:spPr/>
      <dgm:t>
        <a:bodyPr/>
        <a:lstStyle/>
        <a:p>
          <a:pPr algn="ctr"/>
          <a:r>
            <a:rPr lang="en-US" sz="1800" b="0" dirty="0">
              <a:solidFill>
                <a:schemeClr val="bg1"/>
              </a:solidFill>
              <a:latin typeface="+mn-lt"/>
            </a:rPr>
            <a:t>5. Print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Written Examination Questions </a:t>
          </a:r>
          <a:r>
            <a:rPr lang="en-US" sz="1800" b="0" dirty="0">
              <a:solidFill>
                <a:schemeClr val="bg1"/>
              </a:solidFill>
              <a:latin typeface="+mn-lt"/>
            </a:rPr>
            <a:t>with 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Examination Sheet </a:t>
          </a:r>
          <a:r>
            <a:rPr lang="en-US" sz="1800" b="0" dirty="0">
              <a:solidFill>
                <a:schemeClr val="bg1"/>
              </a:solidFill>
              <a:latin typeface="+mn-lt"/>
            </a:rPr>
            <a:t>for each exam to be administered and </a:t>
          </a:r>
          <a:r>
            <a:rPr lang="en-US" sz="1800" b="0" i="1" u="none" dirty="0">
              <a:solidFill>
                <a:schemeClr val="bg1"/>
              </a:solidFill>
              <a:latin typeface="+mn-lt"/>
            </a:rPr>
            <a:t>separately, </a:t>
          </a:r>
          <a:r>
            <a:rPr lang="en-US" sz="1800" b="0" dirty="0">
              <a:solidFill>
                <a:schemeClr val="bg1"/>
              </a:solidFill>
              <a:latin typeface="+mn-lt"/>
            </a:rPr>
            <a:t>the </a:t>
          </a:r>
          <a:r>
            <a:rPr lang="en-US" sz="1800" b="1" dirty="0">
              <a:solidFill>
                <a:srgbClr val="FFC000"/>
              </a:solidFill>
              <a:latin typeface="+mn-lt"/>
            </a:rPr>
            <a:t>Answer Key </a:t>
          </a:r>
          <a:r>
            <a:rPr lang="en-US" sz="1800" b="0" dirty="0">
              <a:solidFill>
                <a:schemeClr val="bg1"/>
              </a:solidFill>
              <a:latin typeface="+mn-lt"/>
            </a:rPr>
            <a:t>for the Evaluator</a:t>
          </a:r>
        </a:p>
      </dgm:t>
    </dgm:pt>
    <dgm:pt modelId="{0DD4FDCA-6087-48D3-949A-244A226C7649}" type="parTrans" cxnId="{50587F1F-8F7C-4995-8B8F-B6097824A2D5}">
      <dgm:prSet/>
      <dgm:spPr/>
      <dgm:t>
        <a:bodyPr/>
        <a:lstStyle/>
        <a:p>
          <a:endParaRPr lang="en-US" sz="1800"/>
        </a:p>
      </dgm:t>
    </dgm:pt>
    <dgm:pt modelId="{CFE408E7-0A55-45AB-9AD3-0820FEECA541}" type="sibTrans" cxnId="{50587F1F-8F7C-4995-8B8F-B6097824A2D5}">
      <dgm:prSet/>
      <dgm:spPr/>
      <dgm:t>
        <a:bodyPr/>
        <a:lstStyle/>
        <a:p>
          <a:endParaRPr lang="en-US" sz="1800"/>
        </a:p>
      </dgm:t>
    </dgm:pt>
    <dgm:pt modelId="{7CBAD707-E94E-4DCA-916B-4422810CAA96}" type="pres">
      <dgm:prSet presAssocID="{11E40783-25A8-43E6-BE6B-1D64DEE63C19}" presName="rootnode" presStyleCnt="0">
        <dgm:presLayoutVars>
          <dgm:chMax/>
          <dgm:chPref/>
          <dgm:dir/>
          <dgm:animLvl val="lvl"/>
        </dgm:presLayoutVars>
      </dgm:prSet>
      <dgm:spPr/>
    </dgm:pt>
    <dgm:pt modelId="{09CF4A51-79D1-468B-B6CF-B765B2958B4F}" type="pres">
      <dgm:prSet presAssocID="{04CB35EC-0748-4259-A624-BCD8E7CAD408}" presName="composite" presStyleCnt="0"/>
      <dgm:spPr/>
    </dgm:pt>
    <dgm:pt modelId="{3BA93F87-C8AC-4686-837F-DB06E4521744}" type="pres">
      <dgm:prSet presAssocID="{04CB35EC-0748-4259-A624-BCD8E7CAD408}" presName="bentUpArrow1" presStyleLbl="alignImgPlace1" presStyleIdx="0" presStyleCnt="4" custLinFactNeighborY="-4054"/>
      <dgm:spPr>
        <a:solidFill>
          <a:srgbClr val="FFC000"/>
        </a:solidFill>
      </dgm:spPr>
    </dgm:pt>
    <dgm:pt modelId="{8630F2D7-0582-4165-B2D4-8294C119200B}" type="pres">
      <dgm:prSet presAssocID="{04CB35EC-0748-4259-A624-BCD8E7CAD408}" presName="ParentText" presStyleLbl="node1" presStyleIdx="0" presStyleCnt="5" custScaleX="304475" custLinFactNeighborX="5038">
        <dgm:presLayoutVars>
          <dgm:chMax val="1"/>
          <dgm:chPref val="1"/>
          <dgm:bulletEnabled val="1"/>
        </dgm:presLayoutVars>
      </dgm:prSet>
      <dgm:spPr/>
    </dgm:pt>
    <dgm:pt modelId="{9029C833-5D81-4AF3-A22B-CAF78E4D8115}" type="pres">
      <dgm:prSet presAssocID="{04CB35EC-0748-4259-A624-BCD8E7CAD408}" presName="Child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9CB52329-1C1B-4240-8B74-7A9F223AC63A}" type="pres">
      <dgm:prSet presAssocID="{4C8B7585-B213-47A0-A8C2-AA9B054D3138}" presName="sibTrans" presStyleCnt="0"/>
      <dgm:spPr/>
    </dgm:pt>
    <dgm:pt modelId="{2B90FBA6-02CD-40EB-8DF0-10DD51E2F0C1}" type="pres">
      <dgm:prSet presAssocID="{D78D4301-B58D-4012-8621-600A8D4A2293}" presName="composite" presStyleCnt="0"/>
      <dgm:spPr/>
    </dgm:pt>
    <dgm:pt modelId="{42D3F465-A9B9-42A7-96A2-5351DF939E53}" type="pres">
      <dgm:prSet presAssocID="{D78D4301-B58D-4012-8621-600A8D4A2293}" presName="bentUpArrow1" presStyleLbl="alignImgPlace1" presStyleIdx="1" presStyleCnt="4" custLinFactNeighborY="-4054"/>
      <dgm:spPr>
        <a:solidFill>
          <a:srgbClr val="FFC000"/>
        </a:solidFill>
      </dgm:spPr>
    </dgm:pt>
    <dgm:pt modelId="{A0F86482-C45B-4DD5-BF41-98A9B9D285FF}" type="pres">
      <dgm:prSet presAssocID="{D78D4301-B58D-4012-8621-600A8D4A2293}" presName="ParentText" presStyleLbl="node1" presStyleIdx="1" presStyleCnt="5" custScaleX="304475" custLinFactNeighborX="5038">
        <dgm:presLayoutVars>
          <dgm:chMax val="1"/>
          <dgm:chPref val="1"/>
          <dgm:bulletEnabled val="1"/>
        </dgm:presLayoutVars>
      </dgm:prSet>
      <dgm:spPr/>
    </dgm:pt>
    <dgm:pt modelId="{EA832866-040D-41F0-9AAA-87E3E96C7FE5}" type="pres">
      <dgm:prSet presAssocID="{D78D4301-B58D-4012-8621-600A8D4A2293}" presName="Child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04C30E88-D306-4DCA-B3D5-690FCAC914B4}" type="pres">
      <dgm:prSet presAssocID="{9BFCD30F-7A53-4572-8369-93A8FE543662}" presName="sibTrans" presStyleCnt="0"/>
      <dgm:spPr/>
    </dgm:pt>
    <dgm:pt modelId="{72D1834E-76E5-4546-A963-ED1B51673FBB}" type="pres">
      <dgm:prSet presAssocID="{0E42FB55-2D56-46EC-9A97-8611FBC1F2CD}" presName="composite" presStyleCnt="0"/>
      <dgm:spPr/>
    </dgm:pt>
    <dgm:pt modelId="{4831E03E-C34C-446C-8140-C79D6064DF41}" type="pres">
      <dgm:prSet presAssocID="{0E42FB55-2D56-46EC-9A97-8611FBC1F2CD}" presName="bentUpArrow1" presStyleLbl="alignImgPlace1" presStyleIdx="2" presStyleCnt="4"/>
      <dgm:spPr>
        <a:solidFill>
          <a:srgbClr val="FFC000"/>
        </a:solidFill>
      </dgm:spPr>
    </dgm:pt>
    <dgm:pt modelId="{7709F8B9-B4EE-4E91-A617-C7F9F9DD31AA}" type="pres">
      <dgm:prSet presAssocID="{0E42FB55-2D56-46EC-9A97-8611FBC1F2CD}" presName="ParentText" presStyleLbl="node1" presStyleIdx="2" presStyleCnt="5" custScaleX="304475" custLinFactNeighborX="5038">
        <dgm:presLayoutVars>
          <dgm:chMax val="1"/>
          <dgm:chPref val="1"/>
          <dgm:bulletEnabled val="1"/>
        </dgm:presLayoutVars>
      </dgm:prSet>
      <dgm:spPr/>
    </dgm:pt>
    <dgm:pt modelId="{FA7F97A8-0CBB-46AC-B0D4-0D84437E4206}" type="pres">
      <dgm:prSet presAssocID="{0E42FB55-2D56-46EC-9A97-8611FBC1F2CD}" presName="Child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A9242401-22AC-40F2-A4F5-0C5D9403750D}" type="pres">
      <dgm:prSet presAssocID="{F6415A6D-FE91-4C2C-A626-5DB3C20FA477}" presName="sibTrans" presStyleCnt="0"/>
      <dgm:spPr/>
    </dgm:pt>
    <dgm:pt modelId="{3A2B3CA6-7ED0-4D6F-8D73-E3FA2FD54387}" type="pres">
      <dgm:prSet presAssocID="{50E982B1-D5F6-413D-BE34-B2FC3A285DB8}" presName="composite" presStyleCnt="0"/>
      <dgm:spPr/>
    </dgm:pt>
    <dgm:pt modelId="{A8E10D0D-1E5F-4187-B311-55E435532C5C}" type="pres">
      <dgm:prSet presAssocID="{50E982B1-D5F6-413D-BE34-B2FC3A285DB8}" presName="bentUpArrow1" presStyleLbl="alignImgPlace1" presStyleIdx="3" presStyleCnt="4"/>
      <dgm:spPr>
        <a:solidFill>
          <a:srgbClr val="FFC000"/>
        </a:solidFill>
      </dgm:spPr>
    </dgm:pt>
    <dgm:pt modelId="{6CF96CD8-0E2B-4516-BE8A-8BB6B95BF27C}" type="pres">
      <dgm:prSet presAssocID="{50E982B1-D5F6-413D-BE34-B2FC3A285DB8}" presName="ParentText" presStyleLbl="node1" presStyleIdx="3" presStyleCnt="5" custScaleX="304475" custLinFactNeighborX="5038">
        <dgm:presLayoutVars>
          <dgm:chMax val="1"/>
          <dgm:chPref val="1"/>
          <dgm:bulletEnabled val="1"/>
        </dgm:presLayoutVars>
      </dgm:prSet>
      <dgm:spPr/>
    </dgm:pt>
    <dgm:pt modelId="{CD4DA0BE-6BA4-426F-A8EE-A26B0DA8C702}" type="pres">
      <dgm:prSet presAssocID="{50E982B1-D5F6-413D-BE34-B2FC3A285DB8}" presName="ChildText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05E7F346-B1D0-4348-999D-D6FC644E8AE6}" type="pres">
      <dgm:prSet presAssocID="{A5CAD074-319A-4CAC-8A2B-935B7B083CD0}" presName="sibTrans" presStyleCnt="0"/>
      <dgm:spPr/>
    </dgm:pt>
    <dgm:pt modelId="{5E95D728-1795-4377-ABEB-F8C859BFFE0A}" type="pres">
      <dgm:prSet presAssocID="{1A25F7F2-6575-4FE8-BB92-5926B4EB4BAD}" presName="composite" presStyleCnt="0"/>
      <dgm:spPr/>
    </dgm:pt>
    <dgm:pt modelId="{9928CCB2-5870-4DDA-95B8-72877258FBBF}" type="pres">
      <dgm:prSet presAssocID="{1A25F7F2-6575-4FE8-BB92-5926B4EB4BAD}" presName="ParentText" presStyleLbl="node1" presStyleIdx="4" presStyleCnt="5" custScaleX="347213" custScaleY="134781">
        <dgm:presLayoutVars>
          <dgm:chMax val="1"/>
          <dgm:chPref val="1"/>
          <dgm:bulletEnabled val="1"/>
        </dgm:presLayoutVars>
      </dgm:prSet>
      <dgm:spPr/>
    </dgm:pt>
  </dgm:ptLst>
  <dgm:cxnLst>
    <dgm:cxn modelId="{73CAD60A-D79B-4ED1-86A8-3E301606DFC6}" srcId="{11E40783-25A8-43E6-BE6B-1D64DEE63C19}" destId="{50E982B1-D5F6-413D-BE34-B2FC3A285DB8}" srcOrd="3" destOrd="0" parTransId="{401AE9A0-557B-434B-947B-5DF1841C03F7}" sibTransId="{A5CAD074-319A-4CAC-8A2B-935B7B083CD0}"/>
    <dgm:cxn modelId="{50587F1F-8F7C-4995-8B8F-B6097824A2D5}" srcId="{11E40783-25A8-43E6-BE6B-1D64DEE63C19}" destId="{1A25F7F2-6575-4FE8-BB92-5926B4EB4BAD}" srcOrd="4" destOrd="0" parTransId="{0DD4FDCA-6087-48D3-949A-244A226C7649}" sibTransId="{CFE408E7-0A55-45AB-9AD3-0820FEECA541}"/>
    <dgm:cxn modelId="{D78CCD2E-095F-4766-879B-1CC0A54FBB8F}" type="presOf" srcId="{D78D4301-B58D-4012-8621-600A8D4A2293}" destId="{A0F86482-C45B-4DD5-BF41-98A9B9D285FF}" srcOrd="0" destOrd="0" presId="urn:microsoft.com/office/officeart/2005/8/layout/StepDownProcess"/>
    <dgm:cxn modelId="{F75F2347-56BC-49BF-8A35-B1D84F0E20F0}" type="presOf" srcId="{11E40783-25A8-43E6-BE6B-1D64DEE63C19}" destId="{7CBAD707-E94E-4DCA-916B-4422810CAA96}" srcOrd="0" destOrd="0" presId="urn:microsoft.com/office/officeart/2005/8/layout/StepDownProcess"/>
    <dgm:cxn modelId="{47B9D068-DC3E-4745-9786-2E8936661533}" type="presOf" srcId="{0E42FB55-2D56-46EC-9A97-8611FBC1F2CD}" destId="{7709F8B9-B4EE-4E91-A617-C7F9F9DD31AA}" srcOrd="0" destOrd="0" presId="urn:microsoft.com/office/officeart/2005/8/layout/StepDownProcess"/>
    <dgm:cxn modelId="{D6E5B769-2D62-47F0-BBF0-D75780B8B45C}" type="presOf" srcId="{50E982B1-D5F6-413D-BE34-B2FC3A285DB8}" destId="{6CF96CD8-0E2B-4516-BE8A-8BB6B95BF27C}" srcOrd="0" destOrd="0" presId="urn:microsoft.com/office/officeart/2005/8/layout/StepDownProcess"/>
    <dgm:cxn modelId="{89A1BC6C-BA27-4A39-9C83-1C2C4541DA05}" type="presOf" srcId="{04CB35EC-0748-4259-A624-BCD8E7CAD408}" destId="{8630F2D7-0582-4165-B2D4-8294C119200B}" srcOrd="0" destOrd="0" presId="urn:microsoft.com/office/officeart/2005/8/layout/StepDownProcess"/>
    <dgm:cxn modelId="{F4CCB158-684B-4D89-932D-5B672EB3E1A4}" type="presOf" srcId="{1A25F7F2-6575-4FE8-BB92-5926B4EB4BAD}" destId="{9928CCB2-5870-4DDA-95B8-72877258FBBF}" srcOrd="0" destOrd="0" presId="urn:microsoft.com/office/officeart/2005/8/layout/StepDownProcess"/>
    <dgm:cxn modelId="{B517A7A1-8B81-4FAE-B8E6-0665E85A4018}" srcId="{11E40783-25A8-43E6-BE6B-1D64DEE63C19}" destId="{04CB35EC-0748-4259-A624-BCD8E7CAD408}" srcOrd="0" destOrd="0" parTransId="{C7FFD4C3-B198-444D-AA1F-BC8EE8229510}" sibTransId="{4C8B7585-B213-47A0-A8C2-AA9B054D3138}"/>
    <dgm:cxn modelId="{127F88C6-C2CB-409C-BF39-F1B4135A01D1}" srcId="{11E40783-25A8-43E6-BE6B-1D64DEE63C19}" destId="{0E42FB55-2D56-46EC-9A97-8611FBC1F2CD}" srcOrd="2" destOrd="0" parTransId="{5A63B5A8-B130-4C00-80DF-A2DF6AE63575}" sibTransId="{F6415A6D-FE91-4C2C-A626-5DB3C20FA477}"/>
    <dgm:cxn modelId="{4FED34E1-296E-45E1-ADDE-D282CEA43FD6}" srcId="{11E40783-25A8-43E6-BE6B-1D64DEE63C19}" destId="{D78D4301-B58D-4012-8621-600A8D4A2293}" srcOrd="1" destOrd="0" parTransId="{0A988B74-AD49-420D-9632-0A160378848E}" sibTransId="{9BFCD30F-7A53-4572-8369-93A8FE543662}"/>
    <dgm:cxn modelId="{C9851441-CF95-4AFC-89F9-DC09E48F3699}" type="presParOf" srcId="{7CBAD707-E94E-4DCA-916B-4422810CAA96}" destId="{09CF4A51-79D1-468B-B6CF-B765B2958B4F}" srcOrd="0" destOrd="0" presId="urn:microsoft.com/office/officeart/2005/8/layout/StepDownProcess"/>
    <dgm:cxn modelId="{C6AFE2CD-537C-4368-B23D-85326224BF68}" type="presParOf" srcId="{09CF4A51-79D1-468B-B6CF-B765B2958B4F}" destId="{3BA93F87-C8AC-4686-837F-DB06E4521744}" srcOrd="0" destOrd="0" presId="urn:microsoft.com/office/officeart/2005/8/layout/StepDownProcess"/>
    <dgm:cxn modelId="{7A82CF1C-C25E-46F0-9FF7-1F8271E3BD66}" type="presParOf" srcId="{09CF4A51-79D1-468B-B6CF-B765B2958B4F}" destId="{8630F2D7-0582-4165-B2D4-8294C119200B}" srcOrd="1" destOrd="0" presId="urn:microsoft.com/office/officeart/2005/8/layout/StepDownProcess"/>
    <dgm:cxn modelId="{3120CA57-EE97-48C0-B015-E86B5505E43A}" type="presParOf" srcId="{09CF4A51-79D1-468B-B6CF-B765B2958B4F}" destId="{9029C833-5D81-4AF3-A22B-CAF78E4D8115}" srcOrd="2" destOrd="0" presId="urn:microsoft.com/office/officeart/2005/8/layout/StepDownProcess"/>
    <dgm:cxn modelId="{556017A5-A49F-475F-8C77-3046E13A4C56}" type="presParOf" srcId="{7CBAD707-E94E-4DCA-916B-4422810CAA96}" destId="{9CB52329-1C1B-4240-8B74-7A9F223AC63A}" srcOrd="1" destOrd="0" presId="urn:microsoft.com/office/officeart/2005/8/layout/StepDownProcess"/>
    <dgm:cxn modelId="{E5F723D7-2E23-44C7-9010-3492B68FB036}" type="presParOf" srcId="{7CBAD707-E94E-4DCA-916B-4422810CAA96}" destId="{2B90FBA6-02CD-40EB-8DF0-10DD51E2F0C1}" srcOrd="2" destOrd="0" presId="urn:microsoft.com/office/officeart/2005/8/layout/StepDownProcess"/>
    <dgm:cxn modelId="{F6701C03-E75A-4EAF-B74A-1610DAF4CCEB}" type="presParOf" srcId="{2B90FBA6-02CD-40EB-8DF0-10DD51E2F0C1}" destId="{42D3F465-A9B9-42A7-96A2-5351DF939E53}" srcOrd="0" destOrd="0" presId="urn:microsoft.com/office/officeart/2005/8/layout/StepDownProcess"/>
    <dgm:cxn modelId="{1A03C087-2585-4BE6-9C09-865D19ABBD17}" type="presParOf" srcId="{2B90FBA6-02CD-40EB-8DF0-10DD51E2F0C1}" destId="{A0F86482-C45B-4DD5-BF41-98A9B9D285FF}" srcOrd="1" destOrd="0" presId="urn:microsoft.com/office/officeart/2005/8/layout/StepDownProcess"/>
    <dgm:cxn modelId="{76F1441A-83EF-4658-8F5C-B4EF04ED4731}" type="presParOf" srcId="{2B90FBA6-02CD-40EB-8DF0-10DD51E2F0C1}" destId="{EA832866-040D-41F0-9AAA-87E3E96C7FE5}" srcOrd="2" destOrd="0" presId="urn:microsoft.com/office/officeart/2005/8/layout/StepDownProcess"/>
    <dgm:cxn modelId="{1440A46E-731E-4569-87BC-EC433B694329}" type="presParOf" srcId="{7CBAD707-E94E-4DCA-916B-4422810CAA96}" destId="{04C30E88-D306-4DCA-B3D5-690FCAC914B4}" srcOrd="3" destOrd="0" presId="urn:microsoft.com/office/officeart/2005/8/layout/StepDownProcess"/>
    <dgm:cxn modelId="{A17A5BDF-246F-46A3-AF46-CA097BB352AF}" type="presParOf" srcId="{7CBAD707-E94E-4DCA-916B-4422810CAA96}" destId="{72D1834E-76E5-4546-A963-ED1B51673FBB}" srcOrd="4" destOrd="0" presId="urn:microsoft.com/office/officeart/2005/8/layout/StepDownProcess"/>
    <dgm:cxn modelId="{A790E25E-2378-4AC4-A7D7-EF54BECA9A50}" type="presParOf" srcId="{72D1834E-76E5-4546-A963-ED1B51673FBB}" destId="{4831E03E-C34C-446C-8140-C79D6064DF41}" srcOrd="0" destOrd="0" presId="urn:microsoft.com/office/officeart/2005/8/layout/StepDownProcess"/>
    <dgm:cxn modelId="{31EDBA56-BD0E-4D54-8470-D4E0EB5AC545}" type="presParOf" srcId="{72D1834E-76E5-4546-A963-ED1B51673FBB}" destId="{7709F8B9-B4EE-4E91-A617-C7F9F9DD31AA}" srcOrd="1" destOrd="0" presId="urn:microsoft.com/office/officeart/2005/8/layout/StepDownProcess"/>
    <dgm:cxn modelId="{F4E865E9-A925-4052-8F73-D234D5E8589B}" type="presParOf" srcId="{72D1834E-76E5-4546-A963-ED1B51673FBB}" destId="{FA7F97A8-0CBB-46AC-B0D4-0D84437E4206}" srcOrd="2" destOrd="0" presId="urn:microsoft.com/office/officeart/2005/8/layout/StepDownProcess"/>
    <dgm:cxn modelId="{31175FAE-63A2-4ED0-BE97-00E51A5A2CBC}" type="presParOf" srcId="{7CBAD707-E94E-4DCA-916B-4422810CAA96}" destId="{A9242401-22AC-40F2-A4F5-0C5D9403750D}" srcOrd="5" destOrd="0" presId="urn:microsoft.com/office/officeart/2005/8/layout/StepDownProcess"/>
    <dgm:cxn modelId="{DBC14DC5-D8A0-4655-9F50-8CA0D8E46725}" type="presParOf" srcId="{7CBAD707-E94E-4DCA-916B-4422810CAA96}" destId="{3A2B3CA6-7ED0-4D6F-8D73-E3FA2FD54387}" srcOrd="6" destOrd="0" presId="urn:microsoft.com/office/officeart/2005/8/layout/StepDownProcess"/>
    <dgm:cxn modelId="{B13EF41D-F485-4ABC-B31C-728AB5896BA9}" type="presParOf" srcId="{3A2B3CA6-7ED0-4D6F-8D73-E3FA2FD54387}" destId="{A8E10D0D-1E5F-4187-B311-55E435532C5C}" srcOrd="0" destOrd="0" presId="urn:microsoft.com/office/officeart/2005/8/layout/StepDownProcess"/>
    <dgm:cxn modelId="{B9E6B2F4-485B-48ED-9B35-7B2457F0B81B}" type="presParOf" srcId="{3A2B3CA6-7ED0-4D6F-8D73-E3FA2FD54387}" destId="{6CF96CD8-0E2B-4516-BE8A-8BB6B95BF27C}" srcOrd="1" destOrd="0" presId="urn:microsoft.com/office/officeart/2005/8/layout/StepDownProcess"/>
    <dgm:cxn modelId="{68814967-D867-4C65-841A-35B41F90F895}" type="presParOf" srcId="{3A2B3CA6-7ED0-4D6F-8D73-E3FA2FD54387}" destId="{CD4DA0BE-6BA4-426F-A8EE-A26B0DA8C702}" srcOrd="2" destOrd="0" presId="urn:microsoft.com/office/officeart/2005/8/layout/StepDownProcess"/>
    <dgm:cxn modelId="{798D4EA1-502E-4D81-9E42-9099E5C35F17}" type="presParOf" srcId="{7CBAD707-E94E-4DCA-916B-4422810CAA96}" destId="{05E7F346-B1D0-4348-999D-D6FC644E8AE6}" srcOrd="7" destOrd="0" presId="urn:microsoft.com/office/officeart/2005/8/layout/StepDownProcess"/>
    <dgm:cxn modelId="{1FC19286-F4D5-4292-B3E6-452701AC0A02}" type="presParOf" srcId="{7CBAD707-E94E-4DCA-916B-4422810CAA96}" destId="{5E95D728-1795-4377-ABEB-F8C859BFFE0A}" srcOrd="8" destOrd="0" presId="urn:microsoft.com/office/officeart/2005/8/layout/StepDownProcess"/>
    <dgm:cxn modelId="{DE48D08B-9D3A-40FA-BA01-C3957F3025F8}" type="presParOf" srcId="{5E95D728-1795-4377-ABEB-F8C859BFFE0A}" destId="{9928CCB2-5870-4DDA-95B8-72877258FBBF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0B80B41-1378-407E-AA71-34EA55C529EB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3844EDC3-A408-4F8A-930F-D18905CF247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Packet to Distribute to Examinees</a:t>
          </a:r>
          <a:endParaRPr lang="en-US" dirty="0"/>
        </a:p>
      </dgm:t>
    </dgm:pt>
    <dgm:pt modelId="{18A7F200-B45C-433D-BFFF-A5D755949714}" type="parTrans" cxnId="{0EABD235-3B5A-4AF7-BF9B-9715F9B4DF8C}">
      <dgm:prSet/>
      <dgm:spPr/>
      <dgm:t>
        <a:bodyPr/>
        <a:lstStyle/>
        <a:p>
          <a:endParaRPr lang="en-US"/>
        </a:p>
      </dgm:t>
    </dgm:pt>
    <dgm:pt modelId="{A6A8D522-2B6D-4025-91D6-A93147B9FEDA}" type="sibTrans" cxnId="{0EABD235-3B5A-4AF7-BF9B-9715F9B4DF8C}">
      <dgm:prSet/>
      <dgm:spPr/>
      <dgm:t>
        <a:bodyPr/>
        <a:lstStyle/>
        <a:p>
          <a:endParaRPr lang="en-US"/>
        </a:p>
      </dgm:t>
    </dgm:pt>
    <dgm:pt modelId="{D0901D93-11C9-4DC8-9EB4-B4C31B2E8F9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Registration sheet</a:t>
          </a:r>
        </a:p>
        <a:p>
          <a:pPr>
            <a:lnSpc>
              <a:spcPct val="100000"/>
            </a:lnSpc>
          </a:pPr>
          <a:r>
            <a:rPr lang="en-US" dirty="0"/>
            <a:t>Written Examination Questions</a:t>
          </a:r>
        </a:p>
      </dgm:t>
    </dgm:pt>
    <dgm:pt modelId="{F9D72130-69BB-42D5-BCF7-12333EBCDE2D}" type="parTrans" cxnId="{CB24FBAA-1201-4307-9461-CD33742F35D2}">
      <dgm:prSet/>
      <dgm:spPr/>
      <dgm:t>
        <a:bodyPr/>
        <a:lstStyle/>
        <a:p>
          <a:endParaRPr lang="en-US"/>
        </a:p>
      </dgm:t>
    </dgm:pt>
    <dgm:pt modelId="{C22E688D-7519-41CF-BCB6-72D77363232A}" type="sibTrans" cxnId="{CB24FBAA-1201-4307-9461-CD33742F35D2}">
      <dgm:prSet/>
      <dgm:spPr/>
      <dgm:t>
        <a:bodyPr/>
        <a:lstStyle/>
        <a:p>
          <a:endParaRPr lang="en-US"/>
        </a:p>
      </dgm:t>
    </dgm:pt>
    <dgm:pt modelId="{7C7C9B68-698B-4A44-8810-8ADE79B3074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Written Examination Sheet</a:t>
          </a:r>
        </a:p>
      </dgm:t>
    </dgm:pt>
    <dgm:pt modelId="{9FC6F5A2-55DD-4DFA-9950-01B6677EA6B0}" type="parTrans" cxnId="{A92B1CC8-17C9-45F4-95FE-4B512505BB12}">
      <dgm:prSet/>
      <dgm:spPr/>
      <dgm:t>
        <a:bodyPr/>
        <a:lstStyle/>
        <a:p>
          <a:endParaRPr lang="en-US"/>
        </a:p>
      </dgm:t>
    </dgm:pt>
    <dgm:pt modelId="{4DFD1FAB-31CB-4FF5-AEC2-CD2D913CCD72}" type="sibTrans" cxnId="{A92B1CC8-17C9-45F4-95FE-4B512505BB12}">
      <dgm:prSet/>
      <dgm:spPr/>
      <dgm:t>
        <a:bodyPr/>
        <a:lstStyle/>
        <a:p>
          <a:endParaRPr lang="en-US"/>
        </a:p>
      </dgm:t>
    </dgm:pt>
    <dgm:pt modelId="{3A5AB32C-EB61-4E5A-AD76-5313264115F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0" dirty="0"/>
            <a:t>Written Examination Answer Key</a:t>
          </a:r>
        </a:p>
        <a:p>
          <a:pPr>
            <a:lnSpc>
              <a:spcPct val="100000"/>
            </a:lnSpc>
            <a:defRPr b="1"/>
          </a:pPr>
          <a:r>
            <a:rPr lang="en-US" b="0" dirty="0"/>
            <a:t> </a:t>
          </a:r>
          <a:r>
            <a:rPr lang="en-US" dirty="0"/>
            <a:t>(only 1 for the Evaluator)</a:t>
          </a:r>
        </a:p>
      </dgm:t>
    </dgm:pt>
    <dgm:pt modelId="{E095060B-B03D-4D66-AB02-421281471EA9}" type="parTrans" cxnId="{243AF26F-2229-407E-89B6-355F0DDFAE3D}">
      <dgm:prSet/>
      <dgm:spPr/>
      <dgm:t>
        <a:bodyPr/>
        <a:lstStyle/>
        <a:p>
          <a:endParaRPr lang="en-US"/>
        </a:p>
      </dgm:t>
    </dgm:pt>
    <dgm:pt modelId="{845D2CD8-D34A-4A46-B9E7-8000FDC8C44F}" type="sibTrans" cxnId="{243AF26F-2229-407E-89B6-355F0DDFAE3D}">
      <dgm:prSet/>
      <dgm:spPr/>
      <dgm:t>
        <a:bodyPr/>
        <a:lstStyle/>
        <a:p>
          <a:endParaRPr lang="en-US"/>
        </a:p>
      </dgm:t>
    </dgm:pt>
    <dgm:pt modelId="{E18FF8B4-F13D-4615-81AF-072B6E0D122B}" type="pres">
      <dgm:prSet presAssocID="{30B80B41-1378-407E-AA71-34EA55C529EB}" presName="root" presStyleCnt="0">
        <dgm:presLayoutVars>
          <dgm:dir/>
          <dgm:resizeHandles val="exact"/>
        </dgm:presLayoutVars>
      </dgm:prSet>
      <dgm:spPr/>
    </dgm:pt>
    <dgm:pt modelId="{3960C2E2-8373-4F3E-8B6C-04AFC5E51F5C}" type="pres">
      <dgm:prSet presAssocID="{3844EDC3-A408-4F8A-930F-D18905CF2479}" presName="compNode" presStyleCnt="0"/>
      <dgm:spPr/>
    </dgm:pt>
    <dgm:pt modelId="{D7FF2228-023C-427E-ACB5-A896AE6B3FD6}" type="pres">
      <dgm:prSet presAssocID="{3844EDC3-A408-4F8A-930F-D18905CF2479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CEB8AFF7-30A1-4201-9DA6-7E66EBD50948}" type="pres">
      <dgm:prSet presAssocID="{3844EDC3-A408-4F8A-930F-D18905CF2479}" presName="iconSpace" presStyleCnt="0"/>
      <dgm:spPr/>
    </dgm:pt>
    <dgm:pt modelId="{5E17F73B-22D2-4E79-9C2D-0E636FBDA9AD}" type="pres">
      <dgm:prSet presAssocID="{3844EDC3-A408-4F8A-930F-D18905CF2479}" presName="parTx" presStyleLbl="revTx" presStyleIdx="0" presStyleCnt="4">
        <dgm:presLayoutVars>
          <dgm:chMax val="0"/>
          <dgm:chPref val="0"/>
        </dgm:presLayoutVars>
      </dgm:prSet>
      <dgm:spPr/>
    </dgm:pt>
    <dgm:pt modelId="{1E2B84BF-8C8E-4086-9112-46D52F7BA3C5}" type="pres">
      <dgm:prSet presAssocID="{3844EDC3-A408-4F8A-930F-D18905CF2479}" presName="txSpace" presStyleCnt="0"/>
      <dgm:spPr/>
    </dgm:pt>
    <dgm:pt modelId="{B88FD350-51DC-46EC-9932-6B25221EEC44}" type="pres">
      <dgm:prSet presAssocID="{3844EDC3-A408-4F8A-930F-D18905CF2479}" presName="desTx" presStyleLbl="revTx" presStyleIdx="1" presStyleCnt="4" custLinFactNeighborX="516" custLinFactNeighborY="-55987">
        <dgm:presLayoutVars/>
      </dgm:prSet>
      <dgm:spPr/>
    </dgm:pt>
    <dgm:pt modelId="{C08706C3-9618-4391-B1FA-98369B6BB9C4}" type="pres">
      <dgm:prSet presAssocID="{A6A8D522-2B6D-4025-91D6-A93147B9FEDA}" presName="sibTrans" presStyleCnt="0"/>
      <dgm:spPr/>
    </dgm:pt>
    <dgm:pt modelId="{5B05EDCE-5426-48DA-894E-ED2D78BF8D0D}" type="pres">
      <dgm:prSet presAssocID="{3A5AB32C-EB61-4E5A-AD76-5313264115F4}" presName="compNode" presStyleCnt="0"/>
      <dgm:spPr/>
    </dgm:pt>
    <dgm:pt modelId="{840BF954-061E-4DB9-A35E-DB36231B7CCF}" type="pres">
      <dgm:prSet presAssocID="{3A5AB32C-EB61-4E5A-AD76-5313264115F4}" presName="iconRect" presStyleLbl="node1" presStyleIdx="1" presStyleCnt="2" custScaleX="23733" custScaleY="46344" custLinFactNeighborX="-15586" custLinFactNeighborY="-1998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Key"/>
        </a:ext>
      </dgm:extLst>
    </dgm:pt>
    <dgm:pt modelId="{48F94A1B-02D0-446E-878D-DEF3153CE01A}" type="pres">
      <dgm:prSet presAssocID="{3A5AB32C-EB61-4E5A-AD76-5313264115F4}" presName="iconSpace" presStyleCnt="0"/>
      <dgm:spPr/>
    </dgm:pt>
    <dgm:pt modelId="{713ECF18-7D80-4974-841F-A29673131A16}" type="pres">
      <dgm:prSet presAssocID="{3A5AB32C-EB61-4E5A-AD76-5313264115F4}" presName="parTx" presStyleLbl="revTx" presStyleIdx="2" presStyleCnt="4" custLinFactNeighborX="-1302" custLinFactNeighborY="31755">
        <dgm:presLayoutVars>
          <dgm:chMax val="0"/>
          <dgm:chPref val="0"/>
        </dgm:presLayoutVars>
      </dgm:prSet>
      <dgm:spPr/>
    </dgm:pt>
    <dgm:pt modelId="{A09D869E-0691-4B06-BD65-FF9285CAF583}" type="pres">
      <dgm:prSet presAssocID="{3A5AB32C-EB61-4E5A-AD76-5313264115F4}" presName="txSpace" presStyleCnt="0"/>
      <dgm:spPr/>
    </dgm:pt>
    <dgm:pt modelId="{424D26C4-44E8-4BCA-A1AC-03FCF38A21D7}" type="pres">
      <dgm:prSet presAssocID="{3A5AB32C-EB61-4E5A-AD76-5313264115F4}" presName="desTx" presStyleLbl="revTx" presStyleIdx="3" presStyleCnt="4">
        <dgm:presLayoutVars/>
      </dgm:prSet>
      <dgm:spPr/>
    </dgm:pt>
  </dgm:ptLst>
  <dgm:cxnLst>
    <dgm:cxn modelId="{1C5A1B1D-86A8-4155-A85F-E06A8312EB69}" type="presOf" srcId="{3844EDC3-A408-4F8A-930F-D18905CF2479}" destId="{5E17F73B-22D2-4E79-9C2D-0E636FBDA9AD}" srcOrd="0" destOrd="0" presId="urn:microsoft.com/office/officeart/2018/5/layout/CenteredIconLabelDescriptionList"/>
    <dgm:cxn modelId="{0D61D52A-5C72-4B64-AD1F-D0A0556E70EF}" type="presOf" srcId="{D0901D93-11C9-4DC8-9EB4-B4C31B2E8F92}" destId="{B88FD350-51DC-46EC-9932-6B25221EEC44}" srcOrd="0" destOrd="0" presId="urn:microsoft.com/office/officeart/2018/5/layout/CenteredIconLabelDescriptionList"/>
    <dgm:cxn modelId="{0EABD235-3B5A-4AF7-BF9B-9715F9B4DF8C}" srcId="{30B80B41-1378-407E-AA71-34EA55C529EB}" destId="{3844EDC3-A408-4F8A-930F-D18905CF2479}" srcOrd="0" destOrd="0" parTransId="{18A7F200-B45C-433D-BFFF-A5D755949714}" sibTransId="{A6A8D522-2B6D-4025-91D6-A93147B9FEDA}"/>
    <dgm:cxn modelId="{243AF26F-2229-407E-89B6-355F0DDFAE3D}" srcId="{30B80B41-1378-407E-AA71-34EA55C529EB}" destId="{3A5AB32C-EB61-4E5A-AD76-5313264115F4}" srcOrd="1" destOrd="0" parTransId="{E095060B-B03D-4D66-AB02-421281471EA9}" sibTransId="{845D2CD8-D34A-4A46-B9E7-8000FDC8C44F}"/>
    <dgm:cxn modelId="{43790273-2B29-48F7-9F52-4D87DA95EBE3}" type="presOf" srcId="{7C7C9B68-698B-4A44-8810-8ADE79B30747}" destId="{B88FD350-51DC-46EC-9932-6B25221EEC44}" srcOrd="0" destOrd="1" presId="urn:microsoft.com/office/officeart/2018/5/layout/CenteredIconLabelDescriptionList"/>
    <dgm:cxn modelId="{B6568F8E-0FF0-4C81-93A8-B6E77812D2CF}" type="presOf" srcId="{30B80B41-1378-407E-AA71-34EA55C529EB}" destId="{E18FF8B4-F13D-4615-81AF-072B6E0D122B}" srcOrd="0" destOrd="0" presId="urn:microsoft.com/office/officeart/2018/5/layout/CenteredIconLabelDescriptionList"/>
    <dgm:cxn modelId="{CB24FBAA-1201-4307-9461-CD33742F35D2}" srcId="{3844EDC3-A408-4F8A-930F-D18905CF2479}" destId="{D0901D93-11C9-4DC8-9EB4-B4C31B2E8F92}" srcOrd="0" destOrd="0" parTransId="{F9D72130-69BB-42D5-BCF7-12333EBCDE2D}" sibTransId="{C22E688D-7519-41CF-BCB6-72D77363232A}"/>
    <dgm:cxn modelId="{A92B1CC8-17C9-45F4-95FE-4B512505BB12}" srcId="{3844EDC3-A408-4F8A-930F-D18905CF2479}" destId="{7C7C9B68-698B-4A44-8810-8ADE79B30747}" srcOrd="1" destOrd="0" parTransId="{9FC6F5A2-55DD-4DFA-9950-01B6677EA6B0}" sibTransId="{4DFD1FAB-31CB-4FF5-AEC2-CD2D913CCD72}"/>
    <dgm:cxn modelId="{029089E7-C90B-46EE-94B8-C9780403CEB2}" type="presOf" srcId="{3A5AB32C-EB61-4E5A-AD76-5313264115F4}" destId="{713ECF18-7D80-4974-841F-A29673131A16}" srcOrd="0" destOrd="0" presId="urn:microsoft.com/office/officeart/2018/5/layout/CenteredIconLabelDescriptionList"/>
    <dgm:cxn modelId="{2BBD51CE-A243-4859-9AB8-88A64AC00DC5}" type="presParOf" srcId="{E18FF8B4-F13D-4615-81AF-072B6E0D122B}" destId="{3960C2E2-8373-4F3E-8B6C-04AFC5E51F5C}" srcOrd="0" destOrd="0" presId="urn:microsoft.com/office/officeart/2018/5/layout/CenteredIconLabelDescriptionList"/>
    <dgm:cxn modelId="{106E7289-654B-42BE-8513-E0C2542C52DA}" type="presParOf" srcId="{3960C2E2-8373-4F3E-8B6C-04AFC5E51F5C}" destId="{D7FF2228-023C-427E-ACB5-A896AE6B3FD6}" srcOrd="0" destOrd="0" presId="urn:microsoft.com/office/officeart/2018/5/layout/CenteredIconLabelDescriptionList"/>
    <dgm:cxn modelId="{217A35B5-61BF-4C19-937E-D2E06F876370}" type="presParOf" srcId="{3960C2E2-8373-4F3E-8B6C-04AFC5E51F5C}" destId="{CEB8AFF7-30A1-4201-9DA6-7E66EBD50948}" srcOrd="1" destOrd="0" presId="urn:microsoft.com/office/officeart/2018/5/layout/CenteredIconLabelDescriptionList"/>
    <dgm:cxn modelId="{A8746DE1-A0F8-47B7-B38C-FF1C3579FA01}" type="presParOf" srcId="{3960C2E2-8373-4F3E-8B6C-04AFC5E51F5C}" destId="{5E17F73B-22D2-4E79-9C2D-0E636FBDA9AD}" srcOrd="2" destOrd="0" presId="urn:microsoft.com/office/officeart/2018/5/layout/CenteredIconLabelDescriptionList"/>
    <dgm:cxn modelId="{7FA7FD45-715A-4EE5-81E9-8820E076E576}" type="presParOf" srcId="{3960C2E2-8373-4F3E-8B6C-04AFC5E51F5C}" destId="{1E2B84BF-8C8E-4086-9112-46D52F7BA3C5}" srcOrd="3" destOrd="0" presId="urn:microsoft.com/office/officeart/2018/5/layout/CenteredIconLabelDescriptionList"/>
    <dgm:cxn modelId="{323BA1A7-0781-4B9C-8CD9-00C79152C5BB}" type="presParOf" srcId="{3960C2E2-8373-4F3E-8B6C-04AFC5E51F5C}" destId="{B88FD350-51DC-46EC-9932-6B25221EEC44}" srcOrd="4" destOrd="0" presId="urn:microsoft.com/office/officeart/2018/5/layout/CenteredIconLabelDescriptionList"/>
    <dgm:cxn modelId="{ABEC37EE-A8E1-4EB2-B513-E5B69F2CD674}" type="presParOf" srcId="{E18FF8B4-F13D-4615-81AF-072B6E0D122B}" destId="{C08706C3-9618-4391-B1FA-98369B6BB9C4}" srcOrd="1" destOrd="0" presId="urn:microsoft.com/office/officeart/2018/5/layout/CenteredIconLabelDescriptionList"/>
    <dgm:cxn modelId="{803EECB6-66FA-4CAD-9745-59C08AECB847}" type="presParOf" srcId="{E18FF8B4-F13D-4615-81AF-072B6E0D122B}" destId="{5B05EDCE-5426-48DA-894E-ED2D78BF8D0D}" srcOrd="2" destOrd="0" presId="urn:microsoft.com/office/officeart/2018/5/layout/CenteredIconLabelDescriptionList"/>
    <dgm:cxn modelId="{3E85A1D7-99D8-47A1-863C-58F38AC42570}" type="presParOf" srcId="{5B05EDCE-5426-48DA-894E-ED2D78BF8D0D}" destId="{840BF954-061E-4DB9-A35E-DB36231B7CCF}" srcOrd="0" destOrd="0" presId="urn:microsoft.com/office/officeart/2018/5/layout/CenteredIconLabelDescriptionList"/>
    <dgm:cxn modelId="{5C50EE49-AB97-4EB8-B2F8-626B6871D0D0}" type="presParOf" srcId="{5B05EDCE-5426-48DA-894E-ED2D78BF8D0D}" destId="{48F94A1B-02D0-446E-878D-DEF3153CE01A}" srcOrd="1" destOrd="0" presId="urn:microsoft.com/office/officeart/2018/5/layout/CenteredIconLabelDescriptionList"/>
    <dgm:cxn modelId="{D47191BC-95DC-4480-BBB4-381C098E6BFC}" type="presParOf" srcId="{5B05EDCE-5426-48DA-894E-ED2D78BF8D0D}" destId="{713ECF18-7D80-4974-841F-A29673131A16}" srcOrd="2" destOrd="0" presId="urn:microsoft.com/office/officeart/2018/5/layout/CenteredIconLabelDescriptionList"/>
    <dgm:cxn modelId="{55912A44-E5FB-4887-B00C-D895665941CC}" type="presParOf" srcId="{5B05EDCE-5426-48DA-894E-ED2D78BF8D0D}" destId="{A09D869E-0691-4B06-BD65-FF9285CAF583}" srcOrd="3" destOrd="0" presId="urn:microsoft.com/office/officeart/2018/5/layout/CenteredIconLabelDescriptionList"/>
    <dgm:cxn modelId="{D0F1DECF-AD2D-47E3-A8DA-B033DA7A5ABB}" type="presParOf" srcId="{5B05EDCE-5426-48DA-894E-ED2D78BF8D0D}" destId="{424D26C4-44E8-4BCA-A1AC-03FCF38A21D7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A93F87-C8AC-4686-837F-DB06E4521744}">
      <dsp:nvSpPr>
        <dsp:cNvPr id="0" name=""/>
        <dsp:cNvSpPr/>
      </dsp:nvSpPr>
      <dsp:spPr>
        <a:xfrm rot="5400000">
          <a:off x="1493506" y="943358"/>
          <a:ext cx="748634" cy="85229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0F2D7-0582-4165-B2D4-8294C119200B}">
      <dsp:nvSpPr>
        <dsp:cNvPr id="0" name=""/>
        <dsp:cNvSpPr/>
      </dsp:nvSpPr>
      <dsp:spPr>
        <a:xfrm>
          <a:off x="70198" y="143832"/>
          <a:ext cx="3837174" cy="88214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+mn-lt"/>
            </a:rPr>
            <a:t>1. Create set of 25 question codes using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Random Question Generator</a:t>
          </a:r>
        </a:p>
      </dsp:txBody>
      <dsp:txXfrm>
        <a:off x="113268" y="186902"/>
        <a:ext cx="3751034" cy="796000"/>
      </dsp:txXfrm>
    </dsp:sp>
    <dsp:sp modelId="{9029C833-5D81-4AF3-A22B-CAF78E4D8115}">
      <dsp:nvSpPr>
        <dsp:cNvPr id="0" name=""/>
        <dsp:cNvSpPr/>
      </dsp:nvSpPr>
      <dsp:spPr>
        <a:xfrm>
          <a:off x="2555423" y="227964"/>
          <a:ext cx="916592" cy="7129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D3F465-A9B9-42A7-96A2-5351DF939E53}">
      <dsp:nvSpPr>
        <dsp:cNvPr id="0" name=""/>
        <dsp:cNvSpPr/>
      </dsp:nvSpPr>
      <dsp:spPr>
        <a:xfrm rot="5400000">
          <a:off x="3335350" y="1934293"/>
          <a:ext cx="748634" cy="85229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F86482-C45B-4DD5-BF41-98A9B9D285FF}">
      <dsp:nvSpPr>
        <dsp:cNvPr id="0" name=""/>
        <dsp:cNvSpPr/>
      </dsp:nvSpPr>
      <dsp:spPr>
        <a:xfrm>
          <a:off x="1912042" y="1134767"/>
          <a:ext cx="3837174" cy="88214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+mn-lt"/>
            </a:rPr>
            <a:t>2. Transfer the question codes generated to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Question Tracker Sheet</a:t>
          </a:r>
        </a:p>
      </dsp:txBody>
      <dsp:txXfrm>
        <a:off x="1955112" y="1177837"/>
        <a:ext cx="3751034" cy="796000"/>
      </dsp:txXfrm>
    </dsp:sp>
    <dsp:sp modelId="{EA832866-040D-41F0-9AAA-87E3E96C7FE5}">
      <dsp:nvSpPr>
        <dsp:cNvPr id="0" name=""/>
        <dsp:cNvSpPr/>
      </dsp:nvSpPr>
      <dsp:spPr>
        <a:xfrm>
          <a:off x="4397267" y="1218899"/>
          <a:ext cx="916592" cy="7129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31E03E-C34C-446C-8140-C79D6064DF41}">
      <dsp:nvSpPr>
        <dsp:cNvPr id="0" name=""/>
        <dsp:cNvSpPr/>
      </dsp:nvSpPr>
      <dsp:spPr>
        <a:xfrm rot="5400000">
          <a:off x="5177194" y="2955578"/>
          <a:ext cx="748634" cy="85229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09F8B9-B4EE-4E91-A617-C7F9F9DD31AA}">
      <dsp:nvSpPr>
        <dsp:cNvPr id="0" name=""/>
        <dsp:cNvSpPr/>
      </dsp:nvSpPr>
      <dsp:spPr>
        <a:xfrm>
          <a:off x="3753885" y="2125702"/>
          <a:ext cx="3837174" cy="88214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+mn-lt"/>
            </a:rPr>
            <a:t>3. Select the matching questions from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Question Bank</a:t>
          </a:r>
          <a:r>
            <a:rPr lang="en-US" sz="1800" b="1" kern="1200" dirty="0">
              <a:solidFill>
                <a:srgbClr val="FFFF00"/>
              </a:solidFill>
              <a:latin typeface="+mn-lt"/>
            </a:rPr>
            <a:t> </a:t>
          </a:r>
          <a:r>
            <a:rPr lang="en-US" sz="1800" b="0" kern="1200" dirty="0">
              <a:latin typeface="+mn-lt"/>
            </a:rPr>
            <a:t>created</a:t>
          </a:r>
        </a:p>
      </dsp:txBody>
      <dsp:txXfrm>
        <a:off x="3796955" y="2168772"/>
        <a:ext cx="3751034" cy="796000"/>
      </dsp:txXfrm>
    </dsp:sp>
    <dsp:sp modelId="{FA7F97A8-0CBB-46AC-B0D4-0D84437E4206}">
      <dsp:nvSpPr>
        <dsp:cNvPr id="0" name=""/>
        <dsp:cNvSpPr/>
      </dsp:nvSpPr>
      <dsp:spPr>
        <a:xfrm>
          <a:off x="6239110" y="2209834"/>
          <a:ext cx="916592" cy="7129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10D0D-1E5F-4187-B311-55E435532C5C}">
      <dsp:nvSpPr>
        <dsp:cNvPr id="0" name=""/>
        <dsp:cNvSpPr/>
      </dsp:nvSpPr>
      <dsp:spPr>
        <a:xfrm rot="5400000">
          <a:off x="7019037" y="3946513"/>
          <a:ext cx="748634" cy="85229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F96CD8-0E2B-4516-BE8A-8BB6B95BF27C}">
      <dsp:nvSpPr>
        <dsp:cNvPr id="0" name=""/>
        <dsp:cNvSpPr/>
      </dsp:nvSpPr>
      <dsp:spPr>
        <a:xfrm>
          <a:off x="5595729" y="3116637"/>
          <a:ext cx="3837174" cy="88214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+mn-lt"/>
            </a:rPr>
            <a:t>4. Transfer the matching questions to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Written Examination Questions Template and Answer key</a:t>
          </a:r>
        </a:p>
      </dsp:txBody>
      <dsp:txXfrm>
        <a:off x="5638799" y="3159707"/>
        <a:ext cx="3751034" cy="796000"/>
      </dsp:txXfrm>
    </dsp:sp>
    <dsp:sp modelId="{CD4DA0BE-6BA4-426F-A8EE-A26B0DA8C702}">
      <dsp:nvSpPr>
        <dsp:cNvPr id="0" name=""/>
        <dsp:cNvSpPr/>
      </dsp:nvSpPr>
      <dsp:spPr>
        <a:xfrm>
          <a:off x="8080954" y="3200769"/>
          <a:ext cx="916592" cy="7129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28CCB2-5870-4DDA-95B8-72877258FBBF}">
      <dsp:nvSpPr>
        <dsp:cNvPr id="0" name=""/>
        <dsp:cNvSpPr/>
      </dsp:nvSpPr>
      <dsp:spPr>
        <a:xfrm>
          <a:off x="7374081" y="4107572"/>
          <a:ext cx="4375784" cy="118895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chemeClr val="bg1"/>
              </a:solidFill>
              <a:latin typeface="+mn-lt"/>
            </a:rPr>
            <a:t>5. Print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Written Examination Questions </a:t>
          </a:r>
          <a:r>
            <a:rPr lang="en-US" sz="1800" b="0" kern="1200" dirty="0">
              <a:solidFill>
                <a:schemeClr val="bg1"/>
              </a:solidFill>
              <a:latin typeface="+mn-lt"/>
            </a:rPr>
            <a:t>with 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Examination Sheet </a:t>
          </a:r>
          <a:r>
            <a:rPr lang="en-US" sz="1800" b="0" kern="1200" dirty="0">
              <a:solidFill>
                <a:schemeClr val="bg1"/>
              </a:solidFill>
              <a:latin typeface="+mn-lt"/>
            </a:rPr>
            <a:t>for each exam to be administered and </a:t>
          </a:r>
          <a:r>
            <a:rPr lang="en-US" sz="1800" b="0" i="1" u="none" kern="1200" dirty="0">
              <a:solidFill>
                <a:schemeClr val="bg1"/>
              </a:solidFill>
              <a:latin typeface="+mn-lt"/>
            </a:rPr>
            <a:t>separately, </a:t>
          </a:r>
          <a:r>
            <a:rPr lang="en-US" sz="1800" b="0" kern="1200" dirty="0">
              <a:solidFill>
                <a:schemeClr val="bg1"/>
              </a:solidFill>
              <a:latin typeface="+mn-lt"/>
            </a:rPr>
            <a:t>the </a:t>
          </a:r>
          <a:r>
            <a:rPr lang="en-US" sz="1800" b="1" kern="1200" dirty="0">
              <a:solidFill>
                <a:srgbClr val="FFC000"/>
              </a:solidFill>
              <a:latin typeface="+mn-lt"/>
            </a:rPr>
            <a:t>Answer Key </a:t>
          </a:r>
          <a:r>
            <a:rPr lang="en-US" sz="1800" b="0" kern="1200" dirty="0">
              <a:solidFill>
                <a:schemeClr val="bg1"/>
              </a:solidFill>
              <a:latin typeface="+mn-lt"/>
            </a:rPr>
            <a:t>for the Evaluator</a:t>
          </a:r>
        </a:p>
      </dsp:txBody>
      <dsp:txXfrm>
        <a:off x="7432132" y="4165623"/>
        <a:ext cx="4259682" cy="10728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FF2228-023C-427E-ACB5-A896AE6B3FD6}">
      <dsp:nvSpPr>
        <dsp:cNvPr id="0" name=""/>
        <dsp:cNvSpPr/>
      </dsp:nvSpPr>
      <dsp:spPr>
        <a:xfrm>
          <a:off x="1963800" y="621043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17F73B-22D2-4E79-9C2D-0E636FBDA9AD}">
      <dsp:nvSpPr>
        <dsp:cNvPr id="0" name=""/>
        <dsp:cNvSpPr/>
      </dsp:nvSpPr>
      <dsp:spPr>
        <a:xfrm>
          <a:off x="559800" y="2266740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/>
            <a:t>Packet to Distribute to Examinees</a:t>
          </a:r>
          <a:endParaRPr lang="en-US" sz="1700" kern="1200" dirty="0"/>
        </a:p>
      </dsp:txBody>
      <dsp:txXfrm>
        <a:off x="559800" y="2266740"/>
        <a:ext cx="4320000" cy="648000"/>
      </dsp:txXfrm>
    </dsp:sp>
    <dsp:sp modelId="{B88FD350-51DC-46EC-9932-6B25221EEC44}">
      <dsp:nvSpPr>
        <dsp:cNvPr id="0" name=""/>
        <dsp:cNvSpPr/>
      </dsp:nvSpPr>
      <dsp:spPr>
        <a:xfrm>
          <a:off x="582091" y="2555137"/>
          <a:ext cx="4320000" cy="7533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Registration sheet</a:t>
          </a:r>
        </a:p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Written Examination Questions</a:t>
          </a:r>
        </a:p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Written Examination Sheet</a:t>
          </a:r>
        </a:p>
      </dsp:txBody>
      <dsp:txXfrm>
        <a:off x="582091" y="2555137"/>
        <a:ext cx="4320000" cy="753369"/>
      </dsp:txXfrm>
    </dsp:sp>
    <dsp:sp modelId="{840BF954-061E-4DB9-A35E-DB36231B7CCF}">
      <dsp:nvSpPr>
        <dsp:cNvPr id="0" name=""/>
        <dsp:cNvSpPr/>
      </dsp:nvSpPr>
      <dsp:spPr>
        <a:xfrm>
          <a:off x="7380718" y="793652"/>
          <a:ext cx="358842" cy="70072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3ECF18-7D80-4974-841F-A29673131A16}">
      <dsp:nvSpPr>
        <dsp:cNvPr id="0" name=""/>
        <dsp:cNvSpPr/>
      </dsp:nvSpPr>
      <dsp:spPr>
        <a:xfrm>
          <a:off x="5579553" y="2269693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0" kern="1200" dirty="0"/>
            <a:t>Written Examination Answer Key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0" kern="1200" dirty="0"/>
            <a:t> </a:t>
          </a:r>
          <a:r>
            <a:rPr lang="en-US" sz="1700" kern="1200" dirty="0"/>
            <a:t>(only 1 for the Evaluator)</a:t>
          </a:r>
        </a:p>
      </dsp:txBody>
      <dsp:txXfrm>
        <a:off x="5579553" y="2269693"/>
        <a:ext cx="4320000" cy="648000"/>
      </dsp:txXfrm>
    </dsp:sp>
    <dsp:sp modelId="{424D26C4-44E8-4BCA-A1AC-03FCF38A21D7}">
      <dsp:nvSpPr>
        <dsp:cNvPr id="0" name=""/>
        <dsp:cNvSpPr/>
      </dsp:nvSpPr>
      <dsp:spPr>
        <a:xfrm>
          <a:off x="5635800" y="2774106"/>
          <a:ext cx="4320000" cy="7533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4A968-807B-4D41-9A9A-D4165D1FE785}" type="datetimeFigureOut">
              <a:rPr lang="en-US" smtClean="0"/>
              <a:t>12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58EE12-EDEE-4E12-B5F8-93F4977EC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297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104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7704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395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564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311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2294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8196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887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C6395E-74F6-48BC-BA1D-EB789E7C5C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1976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C6395E-74F6-48BC-BA1D-EB789E7C5C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8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847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759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483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6"/>
            <a:ext cx="5505756" cy="1430520"/>
          </a:xfrm>
        </p:spPr>
        <p:txBody>
          <a:bodyPr wrap="square">
            <a:spAutoFit/>
          </a:bodyPr>
          <a:lstStyle>
            <a:lvl1pPr>
              <a:defRPr sz="1499" b="0">
                <a:solidFill>
                  <a:schemeClr val="tx1"/>
                </a:solidFill>
              </a:defRPr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0908" y="1629987"/>
            <a:ext cx="5505757" cy="4677279"/>
          </a:xfrm>
        </p:spPr>
        <p:txBody>
          <a:bodyPr/>
          <a:lstStyle>
            <a:lvl1pPr>
              <a:defRPr sz="1499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350" y="6634559"/>
            <a:ext cx="5505757" cy="11541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75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2623" y="6102341"/>
            <a:ext cx="1864485" cy="63485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26986" rIns="53972" bIns="53972" rtlCol="0" anchor="ctr"/>
          <a:lstStyle/>
          <a:p>
            <a:r>
              <a:rPr lang="en-US" sz="825" b="1" dirty="0">
                <a:solidFill>
                  <a:srgbClr val="2D1E1C"/>
                </a:solidFill>
              </a:rPr>
              <a:t>For changing images, please delete them and </a:t>
            </a:r>
            <a:r>
              <a:rPr lang="en-US" sz="825" b="1" dirty="0">
                <a:solidFill>
                  <a:prstClr val="white"/>
                </a:solidFill>
              </a:rPr>
              <a:t>insert a new one over click insert icon</a:t>
            </a:r>
            <a:endParaRPr lang="en-US" sz="825" dirty="0">
              <a:solidFill>
                <a:prstClr val="white"/>
              </a:solidFill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934944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1"/>
            <a:ext cx="12192000" cy="630726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324" y="756946"/>
            <a:ext cx="5594609" cy="5557020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348" y="1628716"/>
            <a:ext cx="5648559" cy="1520416"/>
          </a:xfrm>
        </p:spPr>
        <p:txBody>
          <a:bodyPr>
            <a:spAutoFit/>
          </a:bodyPr>
          <a:lstStyle>
            <a:lvl1pPr marL="199918" indent="-199918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4232795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4232795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2" y="797"/>
            <a:ext cx="12191300" cy="1623593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 dirty="0">
                <a:solidFill>
                  <a:srgbClr val="5F5656"/>
                </a:solidFill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r>
                  <a:rPr lang="en-US" sz="1574" kern="0" dirty="0">
                    <a:solidFill>
                      <a:sysClr val="windowText" lastClr="000000"/>
                    </a:solidFill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349" y="216328"/>
            <a:ext cx="9139240" cy="49232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12616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5"/>
            <a:ext cx="11154316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350" y="6542227"/>
            <a:ext cx="5505757" cy="207749"/>
          </a:xfrm>
        </p:spPr>
        <p:txBody>
          <a:bodyPr wrap="square" anchor="b">
            <a:spAutoFit/>
          </a:bodyPr>
          <a:lstStyle>
            <a:lvl1pPr>
              <a:defRPr sz="75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54749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484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404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44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096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57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14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310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029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m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tm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62200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/>
              <a:t>Managing the Written Examination</a:t>
            </a:r>
          </a:p>
        </p:txBody>
      </p:sp>
    </p:spTree>
    <p:extLst>
      <p:ext uri="{BB962C8B-B14F-4D97-AF65-F5344CB8AC3E}">
        <p14:creationId xmlns:p14="http://schemas.microsoft.com/office/powerpoint/2010/main" val="29427695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4038CB10-1F5C-4D54-9DF7-12586DE5B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7546" y="321732"/>
            <a:ext cx="7058307" cy="19642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256" y="516804"/>
            <a:ext cx="6594189" cy="16252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ritten Examination Question Handou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6D30126-6314-4A93-B27E-5C66CF7819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9184" y="2432305"/>
            <a:ext cx="7056669" cy="4102852"/>
          </a:xfrm>
          <a:prstGeom prst="rect">
            <a:avLst/>
          </a:prstGeom>
          <a:solidFill>
            <a:srgbClr val="7F7F7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Content Placeholder 2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530189E-B68E-4511-A0FA-FAF8120D6D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993" y="2879387"/>
            <a:ext cx="6978541" cy="3210127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3ED6512-6858-4552-B699-9A97FE9A4E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34655" y="321732"/>
            <a:ext cx="4335613" cy="621453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6FF379-1267-4E64-A3DC-CF8CE9181322}"/>
              </a:ext>
            </a:extLst>
          </p:cNvPr>
          <p:cNvSpPr txBox="1"/>
          <p:nvPr/>
        </p:nvSpPr>
        <p:spPr>
          <a:xfrm>
            <a:off x="8029319" y="917725"/>
            <a:ext cx="3424739" cy="4852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uggest no phones allowed</a:t>
            </a:r>
          </a:p>
          <a:p>
            <a:pPr marL="28575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o not write on handout.</a:t>
            </a:r>
          </a:p>
          <a:p>
            <a:pPr marL="28575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llect after the Examinee finishes the exam.</a:t>
            </a:r>
          </a:p>
        </p:txBody>
      </p:sp>
    </p:spTree>
    <p:extLst>
      <p:ext uri="{BB962C8B-B14F-4D97-AF65-F5344CB8AC3E}">
        <p14:creationId xmlns:p14="http://schemas.microsoft.com/office/powerpoint/2010/main" val="1323779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gistration Sheet (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98786" y="1417638"/>
            <a:ext cx="7444459" cy="514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471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gistration Sheet (2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87132" y="1591737"/>
            <a:ext cx="7877175" cy="535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902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ritten Examination Sheet (1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45674" y="1430164"/>
            <a:ext cx="8481050" cy="539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947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aminee Completing the Written Examination Sheet (2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849" t="33466" r="76984" b="27266"/>
          <a:stretch/>
        </p:blipFill>
        <p:spPr>
          <a:xfrm>
            <a:off x="446314" y="1580606"/>
            <a:ext cx="11299372" cy="51233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08789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aminer Completing the Written Examination Sheet (3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320" t="44154" r="14153" b="17720"/>
          <a:stretch/>
        </p:blipFill>
        <p:spPr>
          <a:xfrm>
            <a:off x="40085" y="1769806"/>
            <a:ext cx="12230570" cy="455725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29746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/>
              <a:t>Written Examination Questions with Answer Key </a:t>
            </a:r>
            <a:br>
              <a:rPr lang="en-US" sz="4000" dirty="0"/>
            </a:br>
            <a:r>
              <a:rPr lang="en-US" sz="3100" b="1" cap="all" dirty="0"/>
              <a:t>for Evaluator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A85EC5C-E0D3-48BD-9060-0B03062DF6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761" b="25376"/>
          <a:stretch/>
        </p:blipFill>
        <p:spPr>
          <a:xfrm>
            <a:off x="3097936" y="1417638"/>
            <a:ext cx="5146581" cy="544036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3179E8-5A1F-4C34-9ECB-378F51AA2241}"/>
              </a:ext>
            </a:extLst>
          </p:cNvPr>
          <p:cNvSpPr/>
          <p:nvPr/>
        </p:nvSpPr>
        <p:spPr>
          <a:xfrm>
            <a:off x="7375115" y="2207491"/>
            <a:ext cx="673769" cy="465050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2387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3757298"/>
              </p:ext>
            </p:extLst>
          </p:nvPr>
        </p:nvGraphicFramePr>
        <p:xfrm>
          <a:off x="1482724" y="1575453"/>
          <a:ext cx="9226551" cy="472706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3286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61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1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21098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j-lt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j-lt"/>
                        </a:rPr>
                        <a:t>Tester</a:t>
                      </a:r>
                      <a:r>
                        <a:rPr lang="en-US" sz="2400" baseline="0" dirty="0">
                          <a:latin typeface="+mj-lt"/>
                        </a:rPr>
                        <a:t> </a:t>
                      </a:r>
                      <a:endParaRPr lang="en-US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j-lt"/>
                        </a:rPr>
                        <a:t>Evaluator/ Pro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041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j-lt"/>
                        </a:rPr>
                        <a:t>Registration Sh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1915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j-lt"/>
                        </a:rPr>
                        <a:t>Written Examination Question</a:t>
                      </a:r>
                      <a:r>
                        <a:rPr lang="en-US" sz="2400" baseline="0" dirty="0">
                          <a:latin typeface="+mj-lt"/>
                        </a:rPr>
                        <a:t>s Handout</a:t>
                      </a:r>
                      <a:endParaRPr lang="en-US" sz="2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1915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j-lt"/>
                        </a:rPr>
                        <a:t>Written Examination Question version with Answer</a:t>
                      </a:r>
                      <a:r>
                        <a:rPr lang="en-US" sz="2400" baseline="0" dirty="0">
                          <a:latin typeface="+mj-lt"/>
                        </a:rPr>
                        <a:t> key</a:t>
                      </a:r>
                      <a:endParaRPr lang="en-US" sz="2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1098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j-lt"/>
                        </a:rPr>
                        <a:t>Examination Sh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9C5B82F-3CF6-43A5-B30E-3112FC1E46D9}"/>
              </a:ext>
            </a:extLst>
          </p:cNvPr>
          <p:cNvSpPr txBox="1"/>
          <p:nvPr/>
        </p:nvSpPr>
        <p:spPr>
          <a:xfrm>
            <a:off x="5584680" y="2525910"/>
            <a:ext cx="16129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4798E1-DBF2-4DC4-9AF0-70EB331822F7}"/>
              </a:ext>
            </a:extLst>
          </p:cNvPr>
          <p:cNvSpPr txBox="1"/>
          <p:nvPr/>
        </p:nvSpPr>
        <p:spPr>
          <a:xfrm>
            <a:off x="7833348" y="2324369"/>
            <a:ext cx="2768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e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and sig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0F651F-E417-415B-B1C6-925CC3BDF63E}"/>
              </a:ext>
            </a:extLst>
          </p:cNvPr>
          <p:cNvSpPr txBox="1"/>
          <p:nvPr/>
        </p:nvSpPr>
        <p:spPr>
          <a:xfrm>
            <a:off x="7989307" y="3172777"/>
            <a:ext cx="274955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ep before and after examin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7B5CD6-1799-41CE-83BE-75B1AD402C96}"/>
              </a:ext>
            </a:extLst>
          </p:cNvPr>
          <p:cNvSpPr txBox="1"/>
          <p:nvPr/>
        </p:nvSpPr>
        <p:spPr>
          <a:xfrm>
            <a:off x="4648055" y="3253254"/>
            <a:ext cx="32956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 as resource during the examin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6280F3-7B8D-44EA-A233-90647D783895}"/>
              </a:ext>
            </a:extLst>
          </p:cNvPr>
          <p:cNvSpPr txBox="1"/>
          <p:nvPr/>
        </p:nvSpPr>
        <p:spPr>
          <a:xfrm>
            <a:off x="7569823" y="4483948"/>
            <a:ext cx="32956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 to grade examin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1BB3BC-33FC-4F35-BD8C-0B7F5EEF481A}"/>
              </a:ext>
            </a:extLst>
          </p:cNvPr>
          <p:cNvSpPr txBox="1"/>
          <p:nvPr/>
        </p:nvSpPr>
        <p:spPr>
          <a:xfrm>
            <a:off x="4968488" y="4651473"/>
            <a:ext cx="25717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ES NOT NE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F399D23-357E-4E59-B0C1-9EA33AAB0717}"/>
              </a:ext>
            </a:extLst>
          </p:cNvPr>
          <p:cNvSpPr txBox="1"/>
          <p:nvPr/>
        </p:nvSpPr>
        <p:spPr>
          <a:xfrm>
            <a:off x="4838555" y="5449364"/>
            <a:ext cx="31051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 to record exam answ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FD6A1A-0A3E-4BF2-B666-71BB8CF4D1D5}"/>
              </a:ext>
            </a:extLst>
          </p:cNvPr>
          <p:cNvSpPr txBox="1"/>
          <p:nvPr/>
        </p:nvSpPr>
        <p:spPr>
          <a:xfrm>
            <a:off x="8016874" y="5602107"/>
            <a:ext cx="26924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and grad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DE2ECE6-93FE-4E38-BBD2-E8816B926C0A}"/>
              </a:ext>
            </a:extLst>
          </p:cNvPr>
          <p:cNvSpPr txBox="1">
            <a:spLocks/>
          </p:cNvSpPr>
          <p:nvPr/>
        </p:nvSpPr>
        <p:spPr>
          <a:xfrm>
            <a:off x="0" y="210339"/>
            <a:ext cx="12192000" cy="830997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4000">
                <a:solidFill>
                  <a:prstClr val="white"/>
                </a:solidFill>
                <a:latin typeface="Garamond" panose="02020404030301010803" pitchFamily="18" charset="0"/>
                <a:ea typeface="+mj-ea"/>
                <a:cs typeface="+mj-cs"/>
              </a:defRPr>
            </a:lvl1pPr>
          </a:lstStyle>
          <a:p>
            <a:r>
              <a:rPr lang="en-US" sz="4400"/>
              <a:t>Roles and Responsibility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701925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1" grpId="0"/>
      <p:bldP spid="13" grpId="0"/>
      <p:bldP spid="15" grpId="0"/>
      <p:bldP spid="17" grpId="0"/>
      <p:bldP spid="19" grpId="0"/>
      <p:bldP spid="2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prstClr val="white"/>
                </a:solidFill>
              </a:rPr>
              <a:t>Roles and Responsibility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6390841"/>
              </p:ext>
            </p:extLst>
          </p:nvPr>
        </p:nvGraphicFramePr>
        <p:xfrm>
          <a:off x="720212" y="1641576"/>
          <a:ext cx="10751575" cy="478970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8788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28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29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744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+mj-lt"/>
                        </a:rPr>
                        <a:t>Tester</a:t>
                      </a:r>
                      <a:r>
                        <a:rPr lang="en-US" sz="2800" baseline="0" dirty="0">
                          <a:latin typeface="+mj-lt"/>
                        </a:rPr>
                        <a:t> </a:t>
                      </a:r>
                      <a:endParaRPr lang="en-US" sz="2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+mj-lt"/>
                        </a:rPr>
                        <a:t>Evaluator/ Pro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Registration Sh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+mj-lt"/>
                        </a:rPr>
                        <a:t>Comple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ew and sig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Written Examination Question</a:t>
                      </a:r>
                      <a:r>
                        <a:rPr lang="en-US" sz="2800" baseline="0" dirty="0">
                          <a:latin typeface="+mj-lt"/>
                        </a:rPr>
                        <a:t> version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as resource during the exa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eep before and after examin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1992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Written Examination Question version with Answer</a:t>
                      </a:r>
                      <a:r>
                        <a:rPr lang="en-US" sz="2800" baseline="0" dirty="0">
                          <a:latin typeface="+mj-lt"/>
                        </a:rPr>
                        <a:t> key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rgbClr val="FF0000"/>
                          </a:solidFill>
                          <a:latin typeface="+mj-lt"/>
                        </a:rPr>
                        <a:t>DOES</a:t>
                      </a:r>
                      <a:r>
                        <a:rPr lang="en-US" sz="2800" b="1" baseline="0" dirty="0">
                          <a:solidFill>
                            <a:srgbClr val="FF0000"/>
                          </a:solidFill>
                          <a:latin typeface="+mj-lt"/>
                        </a:rPr>
                        <a:t> NOT NEED</a:t>
                      </a:r>
                      <a:endParaRPr lang="en-US" sz="28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to grade examin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Examination Result</a:t>
                      </a:r>
                      <a:r>
                        <a:rPr lang="en-US" sz="2800" baseline="0" dirty="0">
                          <a:latin typeface="+mj-lt"/>
                        </a:rPr>
                        <a:t> form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to record exam answ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ew and grade</a:t>
                      </a:r>
                    </a:p>
                    <a:p>
                      <a:pPr algn="ctr"/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482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re the different written examination tools?</a:t>
            </a:r>
          </a:p>
          <a:p>
            <a:r>
              <a:rPr lang="en-US" dirty="0"/>
              <a:t>Who uses the Written examination question version</a:t>
            </a:r>
          </a:p>
          <a:p>
            <a:r>
              <a:rPr lang="en-US" dirty="0"/>
              <a:t>Who uses the Written examination question version with answer key?</a:t>
            </a:r>
          </a:p>
          <a:p>
            <a:r>
              <a:rPr lang="en-US" dirty="0"/>
              <a:t>How is the written examination graded?</a:t>
            </a:r>
          </a:p>
        </p:txBody>
      </p:sp>
    </p:spTree>
    <p:extLst>
      <p:ext uri="{BB962C8B-B14F-4D97-AF65-F5344CB8AC3E}">
        <p14:creationId xmlns:p14="http://schemas.microsoft.com/office/powerpoint/2010/main" val="2715017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1"/>
            <a:ext cx="10972800" cy="4525963"/>
          </a:xfrm>
        </p:spPr>
        <p:txBody>
          <a:bodyPr/>
          <a:lstStyle/>
          <a:p>
            <a:r>
              <a:rPr lang="en-US" dirty="0"/>
              <a:t>At the end of the session, you will be able to:</a:t>
            </a:r>
          </a:p>
          <a:p>
            <a:pPr lvl="1"/>
            <a:r>
              <a:rPr lang="en-US" dirty="0"/>
              <a:t>Describe the different written examination tools</a:t>
            </a:r>
          </a:p>
          <a:p>
            <a:pPr lvl="1"/>
            <a:r>
              <a:rPr lang="en-US" dirty="0"/>
              <a:t>Understand the purpose of the written examination tools</a:t>
            </a:r>
          </a:p>
          <a:p>
            <a:pPr lvl="1"/>
            <a:r>
              <a:rPr lang="en-US" dirty="0"/>
              <a:t>Understand how to grade the written examination</a:t>
            </a:r>
          </a:p>
        </p:txBody>
      </p:sp>
    </p:spTree>
    <p:extLst>
      <p:ext uri="{BB962C8B-B14F-4D97-AF65-F5344CB8AC3E}">
        <p14:creationId xmlns:p14="http://schemas.microsoft.com/office/powerpoint/2010/main" val="3115097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1" name="Rectangle 46">
            <a:extLst>
              <a:ext uri="{FF2B5EF4-FFF2-40B4-BE49-F238E27FC236}">
                <a16:creationId xmlns:a16="http://schemas.microsoft.com/office/drawing/2014/main" id="{058A14AF-9FB5-4CC7-BA35-E8E85D3ED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B3E6F-425E-465E-86E2-1C6BC3F4E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62" y="386930"/>
            <a:ext cx="10066122" cy="1298448"/>
          </a:xfrm>
        </p:spPr>
        <p:txBody>
          <a:bodyPr anchor="b">
            <a:normAutofit/>
          </a:bodyPr>
          <a:lstStyle/>
          <a:p>
            <a:r>
              <a:rPr lang="en-US" sz="4800"/>
              <a:t>Written Examination</a:t>
            </a:r>
            <a:endParaRPr lang="en-US" sz="4800" dirty="0"/>
          </a:p>
        </p:txBody>
      </p:sp>
      <p:sp>
        <p:nvSpPr>
          <p:cNvPr id="62" name="Rectangle 48">
            <a:extLst>
              <a:ext uri="{FF2B5EF4-FFF2-40B4-BE49-F238E27FC236}">
                <a16:creationId xmlns:a16="http://schemas.microsoft.com/office/drawing/2014/main" id="{3A9A4357-BD1D-4622-A4FE-766E6AB8D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-2" y="1998845"/>
            <a:ext cx="11454595" cy="7816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ectangle 50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2679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708CF-93E0-40AB-9B6C-DC15F98167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1" y="2599509"/>
            <a:ext cx="4530898" cy="363945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 b="1" dirty="0"/>
              <a:t>Examination Model</a:t>
            </a:r>
          </a:p>
          <a:p>
            <a:r>
              <a:rPr lang="en-US" sz="2000" dirty="0"/>
              <a:t>25 questions over 1 hr. exam time</a:t>
            </a:r>
          </a:p>
          <a:p>
            <a:r>
              <a:rPr lang="en-US" sz="2000" dirty="0"/>
              <a:t>Content covers 9 testing topic areas</a:t>
            </a:r>
          </a:p>
          <a:p>
            <a:r>
              <a:rPr lang="en-US" sz="2000" dirty="0">
                <a:effectLst/>
                <a:ea typeface="Calibri" panose="020F0502020204030204" pitchFamily="34" charset="0"/>
              </a:rPr>
              <a:t>Each content area comprises a specific percentage of the 25-question exam.</a:t>
            </a:r>
          </a:p>
          <a:p>
            <a:r>
              <a:rPr lang="en-US" sz="2000" dirty="0"/>
              <a:t>Question bank with 170 questions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64" name="Rectangle 52">
            <a:extLst>
              <a:ext uri="{FF2B5EF4-FFF2-40B4-BE49-F238E27FC236}">
                <a16:creationId xmlns:a16="http://schemas.microsoft.com/office/drawing/2014/main" id="{E6995CE5-F890-4ABA-82A2-26507CE8D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28040" y="2313027"/>
            <a:ext cx="781700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C722D1-9040-4A44-931C-20C3CE068472}"/>
              </a:ext>
            </a:extLst>
          </p:cNvPr>
          <p:cNvGraphicFramePr>
            <a:graphicFrameLocks noGrp="1"/>
          </p:cNvGraphicFramePr>
          <p:nvPr/>
        </p:nvGraphicFramePr>
        <p:xfrm>
          <a:off x="5412665" y="2341903"/>
          <a:ext cx="5800767" cy="389705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390598">
                  <a:extLst>
                    <a:ext uri="{9D8B030D-6E8A-4147-A177-3AD203B41FA5}">
                      <a16:colId xmlns:a16="http://schemas.microsoft.com/office/drawing/2014/main" val="2267056891"/>
                    </a:ext>
                  </a:extLst>
                </a:gridCol>
                <a:gridCol w="1425162">
                  <a:extLst>
                    <a:ext uri="{9D8B030D-6E8A-4147-A177-3AD203B41FA5}">
                      <a16:colId xmlns:a16="http://schemas.microsoft.com/office/drawing/2014/main" val="947275482"/>
                    </a:ext>
                  </a:extLst>
                </a:gridCol>
                <a:gridCol w="2525549">
                  <a:extLst>
                    <a:ext uri="{9D8B030D-6E8A-4147-A177-3AD203B41FA5}">
                      <a16:colId xmlns:a16="http://schemas.microsoft.com/office/drawing/2014/main" val="1706379673"/>
                    </a:ext>
                  </a:extLst>
                </a:gridCol>
                <a:gridCol w="682509">
                  <a:extLst>
                    <a:ext uri="{9D8B030D-6E8A-4147-A177-3AD203B41FA5}">
                      <a16:colId xmlns:a16="http://schemas.microsoft.com/office/drawing/2014/main" val="1051599970"/>
                    </a:ext>
                  </a:extLst>
                </a:gridCol>
                <a:gridCol w="776949">
                  <a:extLst>
                    <a:ext uri="{9D8B030D-6E8A-4147-A177-3AD203B41FA5}">
                      <a16:colId xmlns:a16="http://schemas.microsoft.com/office/drawing/2014/main" val="233003904"/>
                    </a:ext>
                  </a:extLst>
                </a:gridCol>
              </a:tblGrid>
              <a:tr h="33315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93900" algn="r"/>
                        </a:tabLst>
                      </a:pPr>
                      <a:r>
                        <a:rPr lang="en-US" sz="1000">
                          <a:effectLst/>
                        </a:rPr>
                        <a:t>Area code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93900" algn="r"/>
                        </a:tabLst>
                      </a:pPr>
                      <a:r>
                        <a:rPr lang="en-US" sz="1000">
                          <a:effectLst/>
                        </a:rPr>
                        <a:t>Content Area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93900" algn="r"/>
                        </a:tabLst>
                      </a:pPr>
                      <a:r>
                        <a:rPr lang="en-US" sz="1000">
                          <a:effectLst/>
                        </a:rPr>
                        <a:t>Descriptio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93900" algn="r"/>
                        </a:tabLst>
                      </a:pPr>
                      <a:r>
                        <a:rPr lang="en-US" sz="1000">
                          <a:effectLst/>
                        </a:rPr>
                        <a:t>Number of question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993900" algn="r"/>
                        </a:tabLst>
                      </a:pPr>
                      <a:r>
                        <a:rPr lang="en-US" sz="1000">
                          <a:effectLst/>
                        </a:rPr>
                        <a:t>Examination Percentage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1856897536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verview of Quality Assurance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asic principles and practices of quality implemented in HIV rapid test set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2720419058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verview HIV Rapid Test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asic knowledge pertaining to HIV and HIV rapid tes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2697804845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afet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afety measures and practices implemented in HIV rapid testing set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660194990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pecimen Collectio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rocesses related to the Collection Specimens specifically for HIV rapid tes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1138381834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IV Testing Algorith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equence in which HIV Rapid Testing is performe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1638862530"/>
                  </a:ext>
                </a:extLst>
              </a:tr>
              <a:tr h="37188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ecord keeping /Documentatio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Methods used to create, capture, maintain, and dispose of HIV rapid test data.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3040117027"/>
                  </a:ext>
                </a:extLst>
              </a:tr>
              <a:tr h="49972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xternal Quality Assessment/ Proficiency tes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ystem used for objectively review the testing site operation and performance using an external organizatio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6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4050168754"/>
                  </a:ext>
                </a:extLst>
              </a:tr>
              <a:tr h="49972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rofessional Ethic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ersonnel, organizational, and corporate standards of behavior expected by HIV rapid test professional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%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1365924638"/>
                  </a:ext>
                </a:extLst>
              </a:tr>
              <a:tr h="33315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Inventor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Monitoring and control of commodity pertaining to HIV rapid tes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8%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261" marR="25261" marT="0" marB="0" anchor="ctr"/>
                </a:tc>
                <a:extLst>
                  <a:ext uri="{0D108BD9-81ED-4DB2-BD59-A6C34878D82A}">
                    <a16:rowId xmlns:a16="http://schemas.microsoft.com/office/drawing/2014/main" val="33200833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3006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for Generating Written Exam Questions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104502" y="1417638"/>
          <a:ext cx="11756572" cy="5440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85256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1. Create 25 question codes using the</a:t>
            </a:r>
            <a:br>
              <a:rPr lang="en-US" dirty="0"/>
            </a:b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Exam Question Generator</a:t>
            </a:r>
          </a:p>
        </p:txBody>
      </p:sp>
      <p:pic>
        <p:nvPicPr>
          <p:cNvPr id="11" name="Picture 10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D2F8BC04-9FD3-4B8C-B406-CA29EB7518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0" r="468"/>
          <a:stretch/>
        </p:blipFill>
        <p:spPr>
          <a:xfrm>
            <a:off x="1007826" y="1639613"/>
            <a:ext cx="10176347" cy="51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93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2. Transfer the question codes to the</a:t>
            </a:r>
            <a:br>
              <a:rPr lang="en-US" dirty="0"/>
            </a:b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Question Codes Tracker</a:t>
            </a:r>
          </a:p>
        </p:txBody>
      </p:sp>
      <p:pic>
        <p:nvPicPr>
          <p:cNvPr id="8" name="Picture 7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5C1F65EE-689D-4EAE-97C0-53A35E01E2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0" r="468"/>
          <a:stretch/>
        </p:blipFill>
        <p:spPr>
          <a:xfrm>
            <a:off x="169612" y="2605199"/>
            <a:ext cx="4912054" cy="2804651"/>
          </a:xfrm>
          <a:prstGeom prst="rect">
            <a:avLst/>
          </a:prstGeom>
        </p:spPr>
      </p:pic>
      <p:pic>
        <p:nvPicPr>
          <p:cNvPr id="16" name="Picture 15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F25811B9-060C-4DAE-8D43-9239140CD0B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77"/>
          <a:stretch/>
        </p:blipFill>
        <p:spPr>
          <a:xfrm>
            <a:off x="5246913" y="1533685"/>
            <a:ext cx="6775475" cy="5165411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</p:cNvCxnSpPr>
          <p:nvPr/>
        </p:nvCxnSpPr>
        <p:spPr>
          <a:xfrm>
            <a:off x="4782207" y="3846786"/>
            <a:ext cx="1156138" cy="31531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9793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3. Select the matching questions from the</a:t>
            </a:r>
            <a:br>
              <a:rPr lang="en-US" dirty="0"/>
            </a:b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Question Bank</a:t>
            </a:r>
          </a:p>
        </p:txBody>
      </p:sp>
      <p:pic>
        <p:nvPicPr>
          <p:cNvPr id="10" name="Picture 9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0562BF59-0A6C-40A2-96C5-6FD40D5664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0" r="468"/>
          <a:stretch/>
        </p:blipFill>
        <p:spPr>
          <a:xfrm>
            <a:off x="77084" y="2178947"/>
            <a:ext cx="5709841" cy="359432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1177159" y="3617570"/>
            <a:ext cx="3549800" cy="1242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89A06C6-A721-43D4-A104-11AF164026F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908" b="3622"/>
          <a:stretch/>
        </p:blipFill>
        <p:spPr>
          <a:xfrm>
            <a:off x="5891648" y="1545021"/>
            <a:ext cx="6223268" cy="485578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3" name="Group 2"/>
          <p:cNvGrpSpPr/>
          <p:nvPr/>
        </p:nvGrpSpPr>
        <p:grpSpPr>
          <a:xfrm>
            <a:off x="4726959" y="3634076"/>
            <a:ext cx="1534496" cy="2087485"/>
            <a:chOff x="-335052" y="4869189"/>
            <a:chExt cx="1123384" cy="2365540"/>
          </a:xfrm>
        </p:grpSpPr>
        <p:cxnSp>
          <p:nvCxnSpPr>
            <p:cNvPr id="11" name="Straight Arrow Connector 10"/>
            <p:cNvCxnSpPr>
              <a:cxnSpLocks/>
            </p:cNvCxnSpPr>
            <p:nvPr/>
          </p:nvCxnSpPr>
          <p:spPr>
            <a:xfrm>
              <a:off x="-335052" y="4886112"/>
              <a:ext cx="1123384" cy="605252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cxnSpLocks/>
            </p:cNvCxnSpPr>
            <p:nvPr/>
          </p:nvCxnSpPr>
          <p:spPr>
            <a:xfrm>
              <a:off x="-335052" y="4869189"/>
              <a:ext cx="1123384" cy="236554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625235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4. Transfer the Matching Questions to the</a:t>
            </a:r>
            <a:br>
              <a:rPr lang="en-US" dirty="0"/>
            </a:b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Written Examination Question Template </a:t>
            </a:r>
            <a:r>
              <a:rPr lang="en-US" dirty="0"/>
              <a:t>and</a:t>
            </a:r>
            <a:r>
              <a:rPr lang="en-US" dirty="0">
                <a:solidFill>
                  <a:srgbClr val="FFC000"/>
                </a:solidFill>
              </a:rPr>
              <a:t> Answer Key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5847" t="25396" r="75965" b="27826"/>
          <a:stretch/>
        </p:blipFill>
        <p:spPr>
          <a:xfrm>
            <a:off x="4540946" y="1724298"/>
            <a:ext cx="7417087" cy="499001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26" name="Group 25"/>
          <p:cNvGrpSpPr/>
          <p:nvPr/>
        </p:nvGrpSpPr>
        <p:grpSpPr>
          <a:xfrm>
            <a:off x="169818" y="1498447"/>
            <a:ext cx="5094513" cy="4549656"/>
            <a:chOff x="169818" y="1498447"/>
            <a:chExt cx="5094513" cy="4549656"/>
          </a:xfrm>
        </p:grpSpPr>
        <p:pic>
          <p:nvPicPr>
            <p:cNvPr id="7" name="Content Placeholder 7"/>
            <p:cNvPicPr>
              <a:picLocks noChangeAspect="1"/>
            </p:cNvPicPr>
            <p:nvPr/>
          </p:nvPicPr>
          <p:blipFill rotWithShape="1">
            <a:blip r:embed="rId4"/>
            <a:srcRect r="78532" b="10591"/>
            <a:stretch/>
          </p:blipFill>
          <p:spPr>
            <a:xfrm>
              <a:off x="169818" y="1498447"/>
              <a:ext cx="3927570" cy="347562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cxnSp>
          <p:nvCxnSpPr>
            <p:cNvPr id="15" name="Straight Arrow Connector 14"/>
            <p:cNvCxnSpPr/>
            <p:nvPr/>
          </p:nvCxnSpPr>
          <p:spPr>
            <a:xfrm>
              <a:off x="3840480" y="2728248"/>
              <a:ext cx="1423851" cy="1197736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3753396" y="3343642"/>
              <a:ext cx="1510935" cy="1630425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753396" y="4661554"/>
              <a:ext cx="1510935" cy="1386549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511231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0" name="Rectangle 21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345966"/>
            <a:ext cx="12188952" cy="1133693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dirty="0"/>
              <a:t>5. Creating Written Examination Packet for the Evaluato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2F4899E9-E99C-9F2D-02DE-EE37E6E02FF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609930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Graphic 3" descr="Document with solid fill">
            <a:extLst>
              <a:ext uri="{FF2B5EF4-FFF2-40B4-BE49-F238E27FC236}">
                <a16:creationId xmlns:a16="http://schemas.microsoft.com/office/drawing/2014/main" id="{AFE3D9FC-D1E2-40AC-B1F0-48D4A6EEFA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11812" y="2663058"/>
            <a:ext cx="1531883" cy="153188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4CBE58E-F603-40BC-87DE-938EEE44C5F8}"/>
              </a:ext>
            </a:extLst>
          </p:cNvPr>
          <p:cNvCxnSpPr/>
          <p:nvPr/>
        </p:nvCxnSpPr>
        <p:spPr>
          <a:xfrm>
            <a:off x="5896303" y="1828800"/>
            <a:ext cx="0" cy="426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869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47</TotalTime>
  <Words>649</Words>
  <Application>Microsoft Office PowerPoint</Application>
  <PresentationFormat>Widescreen</PresentationFormat>
  <Paragraphs>137</Paragraphs>
  <Slides>19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Garamond</vt:lpstr>
      <vt:lpstr>Verdana</vt:lpstr>
      <vt:lpstr>1_Office Theme</vt:lpstr>
      <vt:lpstr>think-cell Folie</vt:lpstr>
      <vt:lpstr>Managing the Written Examination</vt:lpstr>
      <vt:lpstr>Learning Objectives</vt:lpstr>
      <vt:lpstr>Written Examination</vt:lpstr>
      <vt:lpstr>Steps for Generating Written Exam Questions</vt:lpstr>
      <vt:lpstr>Step 1. Create 25 question codes using the  Exam Question Generator</vt:lpstr>
      <vt:lpstr>Step 2. Transfer the question codes to the  Question Codes Tracker</vt:lpstr>
      <vt:lpstr>Step 3. Select the matching questions from the  Question Bank</vt:lpstr>
      <vt:lpstr>Step 4. Transfer the Matching Questions to the  Written Examination Question Template and Answer Key</vt:lpstr>
      <vt:lpstr>5. Creating Written Examination Packet for the Evaluator</vt:lpstr>
      <vt:lpstr>Written Examination Question Handout</vt:lpstr>
      <vt:lpstr>Registration Sheet (1)</vt:lpstr>
      <vt:lpstr>Registration Sheet (2)</vt:lpstr>
      <vt:lpstr>Written Examination Sheet (1)</vt:lpstr>
      <vt:lpstr>Examinee Completing the Written Examination Sheet (2)</vt:lpstr>
      <vt:lpstr>Examiner Completing the Written Examination Sheet (3)</vt:lpstr>
      <vt:lpstr>Written Examination Questions with Answer Key  for Evaluator</vt:lpstr>
      <vt:lpstr>PowerPoint Presentation</vt:lpstr>
      <vt:lpstr>Roles and Responsibility</vt:lpstr>
      <vt:lpstr>Summary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he Offline Competency Assessment Tools</dc:title>
  <dc:creator>Kalou, Mireille B. (CDC/CGH/DGHT)</dc:creator>
  <cp:lastModifiedBy>Jackson, Keisha G. (CDC/DDPHSIS/CGH/OD)</cp:lastModifiedBy>
  <cp:revision>28</cp:revision>
  <dcterms:created xsi:type="dcterms:W3CDTF">2017-04-18T20:57:07Z</dcterms:created>
  <dcterms:modified xsi:type="dcterms:W3CDTF">2022-12-23T16:1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2-12-23T16:06:59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1564ee08-5dc1-4228-99c2-37c1443d5027</vt:lpwstr>
  </property>
  <property fmtid="{D5CDD505-2E9C-101B-9397-08002B2CF9AE}" pid="8" name="MSIP_Label_7b94a7b8-f06c-4dfe-bdcc-9b548fd58c31_ContentBits">
    <vt:lpwstr>0</vt:lpwstr>
  </property>
</Properties>
</file>